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989"/>
    <a:srgbClr val="F80000"/>
    <a:srgbClr val="B00000"/>
    <a:srgbClr val="7F0000"/>
    <a:srgbClr val="D1D1D1"/>
    <a:srgbClr val="A7A7A7"/>
    <a:srgbClr val="626262"/>
    <a:srgbClr val="444444"/>
    <a:srgbClr val="F6F6F6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56B2549B-F583-4ADF-AD6C-87A716073401}"/>
    <pc:docChg chg="modSld">
      <pc:chgData name="Weigel Stefan (PAR-EPS)" userId="fd3b2067-2981-4ad8-bf3a-d2e1004e4fa8" providerId="ADAL" clId="{56B2549B-F583-4ADF-AD6C-87A716073401}" dt="2025-02-22T14:15:19.709" v="4" actId="27918"/>
      <pc:docMkLst>
        <pc:docMk/>
      </pc:docMkLst>
      <pc:sldChg chg="modSp mod">
        <pc:chgData name="Weigel Stefan (PAR-EPS)" userId="fd3b2067-2981-4ad8-bf3a-d2e1004e4fa8" providerId="ADAL" clId="{56B2549B-F583-4ADF-AD6C-87A716073401}" dt="2025-02-22T14:15:19.709" v="4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56B2549B-F583-4ADF-AD6C-87A716073401}" dt="2025-02-22T14:14:50.439" v="0" actId="790"/>
          <ac:spMkLst>
            <pc:docMk/>
            <pc:sldMk cId="1183644670" sldId="41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56B2549B-F583-4ADF-AD6C-87A716073401}" dt="2025-02-22T14:15:01.544" v="1" actId="790"/>
          <ac:spMkLst>
            <pc:docMk/>
            <pc:sldMk cId="1183644670" sldId="410"/>
            <ac:spMk id="3" creationId="{12A50853-D660-7C20-2391-A5F8F7EB22F6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3ED5CA3D-C590-4BA3-8040-E007B98DE9A4}"/>
    <pc:docChg chg="modSld">
      <pc:chgData name="Weigel Stefan (PAR-EPS)" userId="fd3b2067-2981-4ad8-bf3a-d2e1004e4fa8" providerId="ADAL" clId="{3ED5CA3D-C590-4BA3-8040-E007B98DE9A4}" dt="2024-02-28T13:07:43.600" v="12" actId="27918"/>
      <pc:docMkLst>
        <pc:docMk/>
      </pc:docMkLst>
      <pc:sldChg chg="modSp mod">
        <pc:chgData name="Weigel Stefan (PAR-EPS)" userId="fd3b2067-2981-4ad8-bf3a-d2e1004e4fa8" providerId="ADAL" clId="{3ED5CA3D-C590-4BA3-8040-E007B98DE9A4}" dt="2024-02-28T13:07:43.600" v="12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3ED5CA3D-C590-4BA3-8040-E007B98DE9A4}" dt="2024-02-28T13:06:34.110" v="0"/>
          <ac:spMkLst>
            <pc:docMk/>
            <pc:sldMk cId="1183644670" sldId="410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88490507-C300-4E72-BD7D-20B830F66540}"/>
    <pc:docChg chg="custSel addSld delSld modSld">
      <pc:chgData name="Meyer Raphael (PAR-ES)" userId="79615dfe-ed48-4e74-a40f-4f7b034c1c27" providerId="ADAL" clId="{88490507-C300-4E72-BD7D-20B830F66540}" dt="2022-03-03T15:47:39.529" v="58"/>
      <pc:docMkLst>
        <pc:docMk/>
      </pc:docMkLst>
      <pc:sldChg chg="delSp modSp del mod">
        <pc:chgData name="Meyer Raphael (PAR-ES)" userId="79615dfe-ed48-4e74-a40f-4f7b034c1c27" providerId="ADAL" clId="{88490507-C300-4E72-BD7D-20B830F66540}" dt="2022-03-03T15:29:25.873" v="10" actId="47"/>
        <pc:sldMkLst>
          <pc:docMk/>
          <pc:sldMk cId="3808035539" sldId="270"/>
        </pc:sldMkLst>
        <pc:spChg chg="del">
          <ac:chgData name="Meyer Raphael (PAR-ES)" userId="79615dfe-ed48-4e74-a40f-4f7b034c1c27" providerId="ADAL" clId="{88490507-C300-4E72-BD7D-20B830F66540}" dt="2022-03-03T15:27:38.217" v="0" actId="478"/>
          <ac:spMkLst>
            <pc:docMk/>
            <pc:sldMk cId="3808035539" sldId="270"/>
            <ac:spMk id="3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28:57.747" v="9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88490507-C300-4E72-BD7D-20B830F66540}" dt="2022-03-03T15:40:42.166" v="11" actId="47"/>
        <pc:sldMkLst>
          <pc:docMk/>
          <pc:sldMk cId="2338066774" sldId="399"/>
        </pc:sldMkLst>
      </pc:sldChg>
      <pc:sldChg chg="modSp add mod">
        <pc:chgData name="Meyer Raphael (PAR-ES)" userId="79615dfe-ed48-4e74-a40f-4f7b034c1c27" providerId="ADAL" clId="{88490507-C300-4E72-BD7D-20B830F66540}" dt="2022-03-03T15:43:03.856" v="26"/>
        <pc:sldMkLst>
          <pc:docMk/>
          <pc:sldMk cId="1465574248" sldId="411"/>
        </pc:sldMkLst>
        <pc:spChg chg="mod">
          <ac:chgData name="Meyer Raphael (PAR-ES)" userId="79615dfe-ed48-4e74-a40f-4f7b034c1c27" providerId="ADAL" clId="{88490507-C300-4E72-BD7D-20B830F66540}" dt="2022-03-03T15:41:39.841" v="15"/>
          <ac:spMkLst>
            <pc:docMk/>
            <pc:sldMk cId="1465574248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43:03.856" v="26"/>
          <ac:graphicFrameMkLst>
            <pc:docMk/>
            <pc:sldMk cId="1465574248" sldId="411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7:39.529" v="58"/>
        <pc:sldMkLst>
          <pc:docMk/>
          <pc:sldMk cId="1771571022" sldId="412"/>
        </pc:sldMkLst>
        <pc:spChg chg="mod">
          <ac:chgData name="Meyer Raphael (PAR-ES)" userId="79615dfe-ed48-4e74-a40f-4f7b034c1c27" providerId="ADAL" clId="{88490507-C300-4E72-BD7D-20B830F66540}" dt="2022-03-03T15:45:34.191" v="45"/>
          <ac:spMkLst>
            <pc:docMk/>
            <pc:sldMk cId="1771571022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6:02.531" v="51" actId="20577"/>
          <ac:spMkLst>
            <pc:docMk/>
            <pc:sldMk cId="1771571022" sldId="412"/>
            <ac:spMk id="6" creationId="{DAA2A1E0-2DA4-465A-B1C8-F33D2A175FA2}"/>
          </ac:spMkLst>
        </pc:spChg>
        <pc:graphicFrameChg chg="mod">
          <ac:chgData name="Meyer Raphael (PAR-ES)" userId="79615dfe-ed48-4e74-a40f-4f7b034c1c27" providerId="ADAL" clId="{88490507-C300-4E72-BD7D-20B830F66540}" dt="2022-03-03T15:47:39.529" v="58"/>
          <ac:graphicFrameMkLst>
            <pc:docMk/>
            <pc:sldMk cId="1771571022" sldId="412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4:36.590" v="44" actId="27918"/>
        <pc:sldMkLst>
          <pc:docMk/>
          <pc:sldMk cId="1929414178" sldId="413"/>
        </pc:sldMkLst>
        <pc:spChg chg="mod">
          <ac:chgData name="Meyer Raphael (PAR-ES)" userId="79615dfe-ed48-4e74-a40f-4f7b034c1c27" providerId="ADAL" clId="{88490507-C300-4E72-BD7D-20B830F66540}" dt="2022-03-03T15:43:47.890" v="27"/>
          <ac:spMkLst>
            <pc:docMk/>
            <pc:sldMk cId="1929414178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4:13.857" v="39" actId="20577"/>
          <ac:spMkLst>
            <pc:docMk/>
            <pc:sldMk cId="1929414178" sldId="413"/>
            <ac:spMk id="6" creationId="{DAA2A1E0-2DA4-465A-B1C8-F33D2A175FA2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AEC2C27-516B-462B-999C-6EF1FFB01B2C}"/>
    <pc:docChg chg="delSld">
      <pc:chgData name="Meyer Raphael (PAR-ES)" userId="79615dfe-ed48-4e74-a40f-4f7b034c1c27" providerId="ADAL" clId="{6AEC2C27-516B-462B-999C-6EF1FFB01B2C}" dt="2022-03-03T15:54:27.599" v="0" actId="47"/>
      <pc:docMkLst>
        <pc:docMk/>
      </pc:docMkLst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465574248" sldId="411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771571022" sldId="412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929414178" sldId="413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PS)" userId="fd3b2067-2981-4ad8-bf3a-d2e1004e4fa8" providerId="ADAL" clId="{C3F547A6-F2B8-46E2-9F8A-BB5A9F587BD1}"/>
    <pc:docChg chg="modSld">
      <pc:chgData name="Weigel Stefan (PAR-EPS)" userId="fd3b2067-2981-4ad8-bf3a-d2e1004e4fa8" providerId="ADAL" clId="{C3F547A6-F2B8-46E2-9F8A-BB5A9F587BD1}" dt="2024-02-28T13:05:50.832" v="78" actId="27918"/>
      <pc:docMkLst>
        <pc:docMk/>
      </pc:docMkLst>
      <pc:sldChg chg="modSp mod">
        <pc:chgData name="Weigel Stefan (PAR-EPS)" userId="fd3b2067-2981-4ad8-bf3a-d2e1004e4fa8" providerId="ADAL" clId="{C3F547A6-F2B8-46E2-9F8A-BB5A9F587BD1}" dt="2024-02-28T13:05:50.832" v="78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C3F547A6-F2B8-46E2-9F8A-BB5A9F587BD1}" dt="2024-02-28T13:05:19.881" v="76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C3F547A6-F2B8-46E2-9F8A-BB5A9F587BD1}" dt="2024-02-28T13:04:45.647" v="68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240D3DC6-B81F-4689-A593-6E2DB529D193}"/>
    <pc:docChg chg="modSld">
      <pc:chgData name="Weigel Stefan (PAR-EPS)" userId="fd3b2067-2981-4ad8-bf3a-d2e1004e4fa8" providerId="ADAL" clId="{240D3DC6-B81F-4689-A593-6E2DB529D193}" dt="2024-04-23T12:37:13.356" v="28" actId="207"/>
      <pc:docMkLst>
        <pc:docMk/>
      </pc:docMkLst>
      <pc:sldChg chg="addSp modSp mod">
        <pc:chgData name="Weigel Stefan (PAR-EPS)" userId="fd3b2067-2981-4ad8-bf3a-d2e1004e4fa8" providerId="ADAL" clId="{240D3DC6-B81F-4689-A593-6E2DB529D193}" dt="2024-04-23T12:37:13.356" v="28" actId="207"/>
        <pc:sldMkLst>
          <pc:docMk/>
          <pc:sldMk cId="1183644670" sldId="410"/>
        </pc:sldMkLst>
        <pc:spChg chg="add mod">
          <ac:chgData name="Weigel Stefan (PAR-EPS)" userId="fd3b2067-2981-4ad8-bf3a-d2e1004e4fa8" providerId="ADAL" clId="{240D3DC6-B81F-4689-A593-6E2DB529D193}" dt="2024-04-23T12:37:04.313" v="27"/>
          <ac:spMkLst>
            <pc:docMk/>
            <pc:sldMk cId="1183644670" sldId="410"/>
            <ac:spMk id="3" creationId="{12A50853-D660-7C20-2391-A5F8F7EB22F6}"/>
          </ac:spMkLst>
        </pc:spChg>
        <pc:spChg chg="mod">
          <ac:chgData name="Weigel Stefan (PAR-EPS)" userId="fd3b2067-2981-4ad8-bf3a-d2e1004e4fa8" providerId="ADAL" clId="{240D3DC6-B81F-4689-A593-6E2DB529D193}" dt="2024-04-23T12:24:38.278" v="21" actId="1038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240D3DC6-B81F-4689-A593-6E2DB529D193}" dt="2024-04-23T12:37:13.356" v="28" actId="207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2E9CE55-D597-471D-9050-4FA1F53477A5}"/>
    <pc:docChg chg="modSld">
      <pc:chgData name="Meyer Raphael (PAR-ES)" userId="79615dfe-ed48-4e74-a40f-4f7b034c1c27" providerId="ADAL" clId="{32E9CE55-D597-471D-9050-4FA1F53477A5}" dt="2022-03-09T16:30:23.837" v="0" actId="692"/>
      <pc:docMkLst>
        <pc:docMk/>
      </pc:docMkLst>
      <pc:sldChg chg="modSp">
        <pc:chgData name="Meyer Raphael (PAR-ES)" userId="79615dfe-ed48-4e74-a40f-4f7b034c1c27" providerId="ADAL" clId="{32E9CE55-D597-471D-9050-4FA1F53477A5}" dt="2022-03-09T16:30:23.837" v="0" actId="692"/>
        <pc:sldMkLst>
          <pc:docMk/>
          <pc:sldMk cId="1183644670" sldId="410"/>
        </pc:sldMkLst>
        <pc:graphicFrameChg chg="mod">
          <ac:chgData name="Meyer Raphael (PAR-ES)" userId="79615dfe-ed48-4e74-a40f-4f7b034c1c27" providerId="ADAL" clId="{32E9CE55-D597-471D-9050-4FA1F53477A5}" dt="2022-03-09T16:30:23.837" v="0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77CDD229-2C18-4E4B-BA0E-243C39EBB4B2}"/>
    <pc:docChg chg="modSld">
      <pc:chgData name="Meyer Raphael (PAR-ES)" userId="79615dfe-ed48-4e74-a40f-4f7b034c1c27" providerId="ADAL" clId="{77CDD229-2C18-4E4B-BA0E-243C39EBB4B2}" dt="2023-02-24T11:10:15.393" v="3" actId="27918"/>
      <pc:docMkLst>
        <pc:docMk/>
      </pc:docMkLst>
      <pc:sldChg chg="mod">
        <pc:chgData name="Meyer Raphael (PAR-ES)" userId="79615dfe-ed48-4e74-a40f-4f7b034c1c27" providerId="ADAL" clId="{77CDD229-2C18-4E4B-BA0E-243C39EBB4B2}" dt="2023-02-24T11:10:15.393" v="3" actId="27918"/>
        <pc:sldMkLst>
          <pc:docMk/>
          <pc:sldMk cId="1183644670" sldId="410"/>
        </pc:sldMkLst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Derailments</c:v>
                </c:pt>
              </c:strCache>
            </c:strRef>
          </c:tx>
          <c:spPr>
            <a:solidFill>
              <a:srgbClr val="D1D1D1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3-A890-4E94-B098-2ACA75FD3651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</c:v>
                </c:pt>
                <c:pt idx="1">
                  <c:v>5</c:v>
                </c:pt>
                <c:pt idx="2">
                  <c:v>0</c:v>
                </c:pt>
                <c:pt idx="3">
                  <c:v>4</c:v>
                </c:pt>
                <c:pt idx="4">
                  <c:v>4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4</c:v>
                </c:pt>
                <c:pt idx="9">
                  <c:v>2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s involving train runs</c:v>
                </c:pt>
              </c:strCache>
            </c:strRef>
          </c:tx>
          <c:spPr>
            <a:solidFill>
              <a:srgbClr val="A7A7A7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2-A890-4E94-B098-2ACA75FD3651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1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5</c:v>
                </c:pt>
                <c:pt idx="6">
                  <c:v>10</c:v>
                </c:pt>
                <c:pt idx="7">
                  <c:v>11</c:v>
                </c:pt>
                <c:pt idx="8">
                  <c:v>10</c:v>
                </c:pt>
                <c:pt idx="9">
                  <c:v>13</c:v>
                </c:pt>
                <c:pt idx="1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ccidents at level crossings</c:v>
                </c:pt>
              </c:strCache>
            </c:strRef>
          </c:tx>
          <c:spPr>
            <a:solidFill>
              <a:srgbClr val="62626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1-A890-4E94-B098-2ACA75FD3651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11</c:v>
                </c:pt>
                <c:pt idx="1">
                  <c:v>8</c:v>
                </c:pt>
                <c:pt idx="2">
                  <c:v>10</c:v>
                </c:pt>
                <c:pt idx="3">
                  <c:v>12</c:v>
                </c:pt>
                <c:pt idx="4">
                  <c:v>15</c:v>
                </c:pt>
                <c:pt idx="5">
                  <c:v>15</c:v>
                </c:pt>
                <c:pt idx="6">
                  <c:v>12</c:v>
                </c:pt>
                <c:pt idx="7">
                  <c:v>11</c:v>
                </c:pt>
                <c:pt idx="8">
                  <c:v>13</c:v>
                </c:pt>
                <c:pt idx="9">
                  <c:v>12</c:v>
                </c:pt>
                <c:pt idx="1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Accidents involving passengers or third parties gaining access to train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0-A890-4E94-B098-2ACA75FD3651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5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lineChart>
        <c:grouping val="standard"/>
        <c:varyColors val="0"/>
        <c:ser>
          <c:idx val="4"/>
          <c:order val="4"/>
          <c:tx>
            <c:strRef>
              <c:f>data!$G$8</c:f>
              <c:strCache>
                <c:ptCount val="1"/>
                <c:pt idx="0">
                  <c:v>Collisions involving train runs per million train-path kilometres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6.0000000000000001E-3</c:v>
                </c:pt>
                <c:pt idx="1">
                  <c:v>0.02</c:v>
                </c:pt>
                <c:pt idx="2">
                  <c:v>0.03</c:v>
                </c:pt>
                <c:pt idx="3">
                  <c:v>0.03</c:v>
                </c:pt>
                <c:pt idx="4">
                  <c:v>0.04</c:v>
                </c:pt>
                <c:pt idx="5">
                  <c:v>0.03</c:v>
                </c:pt>
                <c:pt idx="6">
                  <c:v>0.06</c:v>
                </c:pt>
                <c:pt idx="7">
                  <c:v>0.06</c:v>
                </c:pt>
                <c:pt idx="8">
                  <c:v>0.05</c:v>
                </c:pt>
                <c:pt idx="9">
                  <c:v>7.0000000000000007E-2</c:v>
                </c:pt>
                <c:pt idx="10">
                  <c:v>0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84544"/>
        <c:axId val="121083008"/>
      </c:line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3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2657536"/>
        <c:crosses val="autoZero"/>
        <c:crossBetween val="between"/>
        <c:majorUnit val="10"/>
      </c:valAx>
      <c:valAx>
        <c:axId val="121083008"/>
        <c:scaling>
          <c:orientation val="minMax"/>
          <c:max val="0.3000000000000000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1084544"/>
        <c:crosses val="max"/>
        <c:crossBetween val="between"/>
        <c:majorUnit val="0.1"/>
      </c:valAx>
      <c:catAx>
        <c:axId val="121084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83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611676322876302E-2"/>
          <c:y val="0.74867238373776945"/>
          <c:w val="0.50264294486316508"/>
          <c:h val="0.21821054966693879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753</cdr:x>
      <cdr:y>0.118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7925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100" noProof="0" dirty="0"/>
            <a:t>number </a:t>
          </a:r>
          <a:endParaRPr lang="en-US" sz="1100" noProof="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4823</cdr:x>
      <cdr:y>0.07302</cdr:y>
    </cdr:from>
    <cdr:to>
      <cdr:x>0.90014</cdr:x>
      <cdr:y>0.118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661525" y="392032"/>
          <a:ext cx="1555481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en-US" sz="1100" noProof="0" dirty="0"/>
            <a:t>number/train-path km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ail operation accident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48084462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5600" y="647741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2A50853-D660-7C20-2391-A5F8F7EB22F6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ccidents on SBB infrastructure.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DFD15D5-D818-464D-95AB-9663E924D1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ail operation accident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il operation accidents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5-02-24T12:5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